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74" r:id="rId2"/>
  </p:sldIdLst>
  <p:sldSz cx="7556500" cy="106934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Darker Grotesque" pitchFamily="2" charset="0"/>
      <p:regular r:id="rId7"/>
      <p:bold r:id="rId8"/>
    </p:embeddedFont>
    <p:embeddedFont>
      <p:font typeface="League Spartan" pitchFamily="2" charset="0"/>
      <p:regular r:id="rId9"/>
      <p:bold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986" autoAdjust="0"/>
    <p:restoredTop sz="94622" autoAdjust="0"/>
  </p:normalViewPr>
  <p:slideViewPr>
    <p:cSldViewPr>
      <p:cViewPr>
        <p:scale>
          <a:sx n="66" d="100"/>
          <a:sy n="66" d="100"/>
        </p:scale>
        <p:origin x="984" y="1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" name="Group 9">
            <a:extLst>
              <a:ext uri="{FF2B5EF4-FFF2-40B4-BE49-F238E27FC236}">
                <a16:creationId xmlns:a16="http://schemas.microsoft.com/office/drawing/2014/main" id="{998096E4-6ED9-D541-B8FA-D190563D754B}"/>
              </a:ext>
            </a:extLst>
          </p:cNvPr>
          <p:cNvGrpSpPr/>
          <p:nvPr/>
        </p:nvGrpSpPr>
        <p:grpSpPr>
          <a:xfrm>
            <a:off x="0" y="700"/>
            <a:ext cx="7556500" cy="10692000"/>
            <a:chOff x="0" y="700"/>
            <a:chExt cx="7556500" cy="10692000"/>
          </a:xfrm>
        </p:grpSpPr>
        <p:sp>
          <p:nvSpPr>
            <p:cNvPr id="109" name="Freeform 2">
              <a:extLst>
                <a:ext uri="{FF2B5EF4-FFF2-40B4-BE49-F238E27FC236}">
                  <a16:creationId xmlns:a16="http://schemas.microsoft.com/office/drawing/2014/main" id="{6FF67781-10F2-E127-DD98-058E0F1B9253}"/>
                </a:ext>
              </a:extLst>
            </p:cNvPr>
            <p:cNvSpPr/>
            <p:nvPr/>
          </p:nvSpPr>
          <p:spPr>
            <a:xfrm>
              <a:off x="0" y="700"/>
              <a:ext cx="7556500" cy="10692000"/>
            </a:xfrm>
            <a:custGeom>
              <a:avLst/>
              <a:gdLst/>
              <a:ahLst/>
              <a:cxnLst/>
              <a:rect l="l" t="t" r="r" b="b"/>
              <a:pathLst>
                <a:path w="8019000" h="10692000">
                  <a:moveTo>
                    <a:pt x="0" y="0"/>
                  </a:moveTo>
                  <a:lnTo>
                    <a:pt x="8019000" y="0"/>
                  </a:lnTo>
                  <a:lnTo>
                    <a:pt x="8019000" y="10692000"/>
                  </a:lnTo>
                  <a:lnTo>
                    <a:pt x="0" y="10692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21999"/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 l="-3037" r="-3083"/>
              </a:stretch>
            </a:blipFill>
          </p:spPr>
          <p:txBody>
            <a:bodyPr/>
            <a:lstStyle/>
            <a:p>
              <a:endParaRPr lang="en-US"/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9D6EB16-5C20-6222-B70A-0939806F751B}"/>
                </a:ext>
              </a:extLst>
            </p:cNvPr>
            <p:cNvGrpSpPr/>
            <p:nvPr/>
          </p:nvGrpSpPr>
          <p:grpSpPr>
            <a:xfrm>
              <a:off x="485234" y="4395787"/>
              <a:ext cx="6586032" cy="5860030"/>
              <a:chOff x="485234" y="4395787"/>
              <a:chExt cx="6586032" cy="5860030"/>
            </a:xfrm>
          </p:grpSpPr>
          <p:sp>
            <p:nvSpPr>
              <p:cNvPr id="75" name="Rectangle: Rounded Corners 74">
                <a:extLst>
                  <a:ext uri="{FF2B5EF4-FFF2-40B4-BE49-F238E27FC236}">
                    <a16:creationId xmlns:a16="http://schemas.microsoft.com/office/drawing/2014/main" id="{4C530868-CFA7-055B-EB82-2EBD1F5AFCD4}"/>
                  </a:ext>
                </a:extLst>
              </p:cNvPr>
              <p:cNvSpPr/>
              <p:nvPr/>
            </p:nvSpPr>
            <p:spPr>
              <a:xfrm>
                <a:off x="485234" y="4395788"/>
                <a:ext cx="6586032" cy="5860029"/>
              </a:xfrm>
              <a:prstGeom prst="roundRect">
                <a:avLst>
                  <a:gd name="adj" fmla="val 3813"/>
                </a:avLst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AutoShape 6">
                <a:extLst>
                  <a:ext uri="{FF2B5EF4-FFF2-40B4-BE49-F238E27FC236}">
                    <a16:creationId xmlns:a16="http://schemas.microsoft.com/office/drawing/2014/main" id="{246865B4-B08A-791C-99C3-6F1BECC7B10E}"/>
                  </a:ext>
                </a:extLst>
              </p:cNvPr>
              <p:cNvSpPr/>
              <p:nvPr/>
            </p:nvSpPr>
            <p:spPr>
              <a:xfrm flipV="1">
                <a:off x="2477520" y="4395787"/>
                <a:ext cx="0" cy="5855652"/>
              </a:xfrm>
              <a:prstGeom prst="line">
                <a:avLst/>
              </a:prstGeom>
              <a:ln w="28575" cap="flat">
                <a:solidFill>
                  <a:srgbClr val="000000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" name="AutoShape 8">
                <a:extLst>
                  <a:ext uri="{FF2B5EF4-FFF2-40B4-BE49-F238E27FC236}">
                    <a16:creationId xmlns:a16="http://schemas.microsoft.com/office/drawing/2014/main" id="{77406C61-7F08-780C-6CBA-3C11DFDAE243}"/>
                  </a:ext>
                </a:extLst>
              </p:cNvPr>
              <p:cNvSpPr/>
              <p:nvPr/>
            </p:nvSpPr>
            <p:spPr>
              <a:xfrm flipV="1">
                <a:off x="485234" y="7898534"/>
                <a:ext cx="6586032" cy="0"/>
              </a:xfrm>
              <a:prstGeom prst="line">
                <a:avLst/>
              </a:prstGeom>
              <a:ln w="28575" cap="flat">
                <a:solidFill>
                  <a:srgbClr val="000000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AutoShape 13">
                <a:extLst>
                  <a:ext uri="{FF2B5EF4-FFF2-40B4-BE49-F238E27FC236}">
                    <a16:creationId xmlns:a16="http://schemas.microsoft.com/office/drawing/2014/main" id="{E24DD169-C2D4-131B-DB93-02943ED6FCE3}"/>
                  </a:ext>
                </a:extLst>
              </p:cNvPr>
              <p:cNvSpPr/>
              <p:nvPr/>
            </p:nvSpPr>
            <p:spPr>
              <a:xfrm flipV="1">
                <a:off x="485234" y="6300934"/>
                <a:ext cx="6586032" cy="0"/>
              </a:xfrm>
              <a:prstGeom prst="line">
                <a:avLst/>
              </a:prstGeom>
              <a:ln w="28575" cap="flat">
                <a:solidFill>
                  <a:srgbClr val="000000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" name="Freeform 10">
                <a:extLst>
                  <a:ext uri="{FF2B5EF4-FFF2-40B4-BE49-F238E27FC236}">
                    <a16:creationId xmlns:a16="http://schemas.microsoft.com/office/drawing/2014/main" id="{451396EB-2745-277D-9AE6-9CDEA48CDA23}"/>
                  </a:ext>
                </a:extLst>
              </p:cNvPr>
              <p:cNvSpPr/>
              <p:nvPr/>
            </p:nvSpPr>
            <p:spPr>
              <a:xfrm>
                <a:off x="2237650" y="7661414"/>
                <a:ext cx="479741" cy="47974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535715" y="277085"/>
                    </a:lnTo>
                    <a:lnTo>
                      <a:pt x="812800" y="406400"/>
                    </a:lnTo>
                    <a:lnTo>
                      <a:pt x="535715" y="535715"/>
                    </a:lnTo>
                    <a:lnTo>
                      <a:pt x="406400" y="812800"/>
                    </a:lnTo>
                    <a:lnTo>
                      <a:pt x="277085" y="535715"/>
                    </a:lnTo>
                    <a:lnTo>
                      <a:pt x="0" y="406400"/>
                    </a:lnTo>
                    <a:lnTo>
                      <a:pt x="277085" y="277085"/>
                    </a:lnTo>
                    <a:lnTo>
                      <a:pt x="406400" y="0"/>
                    </a:lnTo>
                    <a:close/>
                  </a:path>
                </a:pathLst>
              </a:custGeom>
              <a:solidFill>
                <a:srgbClr val="FFD800"/>
              </a:solidFill>
              <a:ln w="28575" cap="sq">
                <a:solidFill>
                  <a:srgbClr val="000000"/>
                </a:solidFill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" name="Freeform 15">
                <a:extLst>
                  <a:ext uri="{FF2B5EF4-FFF2-40B4-BE49-F238E27FC236}">
                    <a16:creationId xmlns:a16="http://schemas.microsoft.com/office/drawing/2014/main" id="{96EA9B8F-0F7B-CE48-C8E7-45A9471AA73A}"/>
                  </a:ext>
                </a:extLst>
              </p:cNvPr>
              <p:cNvSpPr/>
              <p:nvPr/>
            </p:nvSpPr>
            <p:spPr>
              <a:xfrm>
                <a:off x="2237650" y="6064239"/>
                <a:ext cx="479741" cy="47974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lnTo>
                      <a:pt x="535715" y="277085"/>
                    </a:lnTo>
                    <a:lnTo>
                      <a:pt x="812800" y="406400"/>
                    </a:lnTo>
                    <a:lnTo>
                      <a:pt x="535715" y="535715"/>
                    </a:lnTo>
                    <a:lnTo>
                      <a:pt x="406400" y="812800"/>
                    </a:lnTo>
                    <a:lnTo>
                      <a:pt x="277085" y="535715"/>
                    </a:lnTo>
                    <a:lnTo>
                      <a:pt x="0" y="406400"/>
                    </a:lnTo>
                    <a:lnTo>
                      <a:pt x="277085" y="277085"/>
                    </a:lnTo>
                    <a:lnTo>
                      <a:pt x="406400" y="0"/>
                    </a:lnTo>
                    <a:close/>
                  </a:path>
                </a:pathLst>
              </a:custGeom>
              <a:solidFill>
                <a:srgbClr val="FFD800"/>
              </a:solidFill>
              <a:ln w="28575" cap="sq">
                <a:solidFill>
                  <a:srgbClr val="000000"/>
                </a:solidFill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731085A-154E-5DA3-AA55-103F18C03067}"/>
                </a:ext>
              </a:extLst>
            </p:cNvPr>
            <p:cNvGrpSpPr/>
            <p:nvPr/>
          </p:nvGrpSpPr>
          <p:grpSpPr>
            <a:xfrm>
              <a:off x="704702" y="8303605"/>
              <a:ext cx="5970640" cy="1535906"/>
              <a:chOff x="704702" y="8303605"/>
              <a:chExt cx="5970640" cy="1535906"/>
            </a:xfrm>
          </p:grpSpPr>
          <p:sp>
            <p:nvSpPr>
              <p:cNvPr id="87" name="TextBox 67">
                <a:extLst>
                  <a:ext uri="{FF2B5EF4-FFF2-40B4-BE49-F238E27FC236}">
                    <a16:creationId xmlns:a16="http://schemas.microsoft.com/office/drawing/2014/main" id="{1274635B-C15C-C2B5-947A-2B5EDCCAB772}"/>
                  </a:ext>
                </a:extLst>
              </p:cNvPr>
              <p:cNvSpPr txBox="1"/>
              <p:nvPr/>
            </p:nvSpPr>
            <p:spPr>
              <a:xfrm>
                <a:off x="704702" y="8635798"/>
                <a:ext cx="1553349" cy="87152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2200"/>
                  </a:lnSpc>
                  <a:defRPr sz="2600" b="1" spc="-83">
                    <a:solidFill>
                      <a:srgbClr val="000000"/>
                    </a:solidFill>
                    <a:latin typeface="League Spartan"/>
                  </a:defRPr>
                </a:lvl1pPr>
              </a:lstStyle>
              <a:p>
                <a:r>
                  <a:rPr lang="en-US" dirty="0"/>
                  <a:t>FACTS ABOUT</a:t>
                </a:r>
              </a:p>
              <a:p>
                <a:r>
                  <a:rPr lang="en-US" dirty="0"/>
                  <a:t>ME</a:t>
                </a:r>
              </a:p>
            </p:txBody>
          </p:sp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0939953A-8906-4703-1F2E-CDB557FEB97C}"/>
                  </a:ext>
                </a:extLst>
              </p:cNvPr>
              <p:cNvGrpSpPr/>
              <p:nvPr/>
            </p:nvGrpSpPr>
            <p:grpSpPr>
              <a:xfrm>
                <a:off x="2660707" y="8303605"/>
                <a:ext cx="4014635" cy="1535906"/>
                <a:chOff x="2660707" y="8261527"/>
                <a:chExt cx="4014635" cy="1535906"/>
              </a:xfrm>
            </p:grpSpPr>
            <p:sp>
              <p:nvSpPr>
                <p:cNvPr id="92" name="TextBox 62">
                  <a:extLst>
                    <a:ext uri="{FF2B5EF4-FFF2-40B4-BE49-F238E27FC236}">
                      <a16:creationId xmlns:a16="http://schemas.microsoft.com/office/drawing/2014/main" id="{6B4015CF-E1A6-9637-6826-8C7250D55B50}"/>
                    </a:ext>
                  </a:extLst>
                </p:cNvPr>
                <p:cNvSpPr txBox="1"/>
                <p:nvPr/>
              </p:nvSpPr>
              <p:spPr>
                <a:xfrm>
                  <a:off x="2660707" y="8261527"/>
                  <a:ext cx="4014635" cy="49768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323848" lvl="1" indent="-161924" algn="l">
                    <a:lnSpc>
                      <a:spcPts val="2099"/>
                    </a:lnSpc>
                    <a:spcBef>
                      <a:spcPct val="0"/>
                    </a:spcBef>
                    <a:buFont typeface="Arial"/>
                    <a:buChar char="•"/>
                  </a:pPr>
                  <a:r>
                    <a:rPr lang="en-US" sz="1499" u="none" strike="noStrike" dirty="0">
                      <a:solidFill>
                        <a:srgbClr val="000000"/>
                      </a:solidFill>
                      <a:latin typeface="Darker Grotesque"/>
                    </a:rPr>
                    <a:t>I can speak 3 languages! English, French, and a little bit of Italian.</a:t>
                  </a:r>
                </a:p>
              </p:txBody>
            </p:sp>
            <p:sp>
              <p:nvSpPr>
                <p:cNvPr id="93" name="TextBox 63">
                  <a:extLst>
                    <a:ext uri="{FF2B5EF4-FFF2-40B4-BE49-F238E27FC236}">
                      <a16:creationId xmlns:a16="http://schemas.microsoft.com/office/drawing/2014/main" id="{7FF0B726-EFF6-FE6A-AFAB-CAB2367C5276}"/>
                    </a:ext>
                  </a:extLst>
                </p:cNvPr>
                <p:cNvSpPr txBox="1"/>
                <p:nvPr/>
              </p:nvSpPr>
              <p:spPr>
                <a:xfrm>
                  <a:off x="2660707" y="9540258"/>
                  <a:ext cx="4014635" cy="2571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323850" lvl="1" indent="-161925" algn="l">
                    <a:lnSpc>
                      <a:spcPts val="2100"/>
                    </a:lnSpc>
                    <a:buFont typeface="Arial"/>
                    <a:buChar char="•"/>
                  </a:pPr>
                  <a:r>
                    <a:rPr lang="en-US" sz="1500">
                      <a:solidFill>
                        <a:srgbClr val="000000"/>
                      </a:solidFill>
                      <a:latin typeface="Darker Grotesque"/>
                    </a:rPr>
                    <a:t>I can speak with my stomach.</a:t>
                  </a:r>
                </a:p>
              </p:txBody>
            </p:sp>
            <p:sp>
              <p:nvSpPr>
                <p:cNvPr id="94" name="TextBox 64">
                  <a:extLst>
                    <a:ext uri="{FF2B5EF4-FFF2-40B4-BE49-F238E27FC236}">
                      <a16:creationId xmlns:a16="http://schemas.microsoft.com/office/drawing/2014/main" id="{96BD1441-22BA-F939-FEB6-88ECE6D795EC}"/>
                    </a:ext>
                  </a:extLst>
                </p:cNvPr>
                <p:cNvSpPr txBox="1"/>
                <p:nvPr/>
              </p:nvSpPr>
              <p:spPr>
                <a:xfrm>
                  <a:off x="2660707" y="8900892"/>
                  <a:ext cx="4014635" cy="49768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323848" lvl="1" indent="-161924" algn="l">
                    <a:lnSpc>
                      <a:spcPts val="2099"/>
                    </a:lnSpc>
                    <a:buFont typeface="Arial"/>
                    <a:buChar char="•"/>
                  </a:pPr>
                  <a:r>
                    <a:rPr lang="en-US" sz="1499" u="none" strike="noStrike" dirty="0">
                      <a:solidFill>
                        <a:srgbClr val="000000"/>
                      </a:solidFill>
                      <a:latin typeface="Darker Grotesque"/>
                    </a:rPr>
                    <a:t>I play the piano proficiently and can accurately reproduce the notes after hearing them just once.</a:t>
                  </a:r>
                </a:p>
              </p:txBody>
            </p:sp>
          </p:grpSp>
        </p:grp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0BACB00D-F171-4063-C999-569A5367426F}"/>
                </a:ext>
              </a:extLst>
            </p:cNvPr>
            <p:cNvGrpSpPr/>
            <p:nvPr/>
          </p:nvGrpSpPr>
          <p:grpSpPr>
            <a:xfrm>
              <a:off x="704702" y="6626082"/>
              <a:ext cx="6139737" cy="949543"/>
              <a:chOff x="704702" y="6626082"/>
              <a:chExt cx="6139737" cy="949543"/>
            </a:xfrm>
          </p:grpSpPr>
          <p:sp>
            <p:nvSpPr>
              <p:cNvPr id="86" name="TextBox 66">
                <a:extLst>
                  <a:ext uri="{FF2B5EF4-FFF2-40B4-BE49-F238E27FC236}">
                    <a16:creationId xmlns:a16="http://schemas.microsoft.com/office/drawing/2014/main" id="{FEBC12C7-1747-87AF-AD78-7CDFDC8FA83A}"/>
                  </a:ext>
                </a:extLst>
              </p:cNvPr>
              <p:cNvSpPr txBox="1"/>
              <p:nvPr/>
            </p:nvSpPr>
            <p:spPr>
              <a:xfrm>
                <a:off x="704702" y="6806157"/>
                <a:ext cx="1553349" cy="58939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>
                <a:defPPr>
                  <a:defRPr lang="en-US"/>
                </a:defPPr>
                <a:lvl1pPr algn="ctr">
                  <a:lnSpc>
                    <a:spcPts val="2200"/>
                  </a:lnSpc>
                  <a:defRPr sz="2600" b="1" spc="-83">
                    <a:solidFill>
                      <a:srgbClr val="000000"/>
                    </a:solidFill>
                    <a:latin typeface="League Spartan"/>
                  </a:defRPr>
                </a:lvl1pPr>
              </a:lstStyle>
              <a:p>
                <a:r>
                  <a:rPr lang="en-US" dirty="0"/>
                  <a:t>FAVORITE COLORS</a:t>
                </a:r>
              </a:p>
            </p:txBody>
          </p:sp>
          <p:grpSp>
            <p:nvGrpSpPr>
              <p:cNvPr id="124" name="Group 123">
                <a:extLst>
                  <a:ext uri="{FF2B5EF4-FFF2-40B4-BE49-F238E27FC236}">
                    <a16:creationId xmlns:a16="http://schemas.microsoft.com/office/drawing/2014/main" id="{A18E41E2-8C14-829B-945A-7317EABAF9D6}"/>
                  </a:ext>
                </a:extLst>
              </p:cNvPr>
              <p:cNvGrpSpPr/>
              <p:nvPr/>
            </p:nvGrpSpPr>
            <p:grpSpPr>
              <a:xfrm>
                <a:off x="2718634" y="6626082"/>
                <a:ext cx="4125805" cy="949543"/>
                <a:chOff x="2717390" y="6623162"/>
                <a:chExt cx="4125805" cy="949543"/>
              </a:xfrm>
            </p:grpSpPr>
            <p:sp>
              <p:nvSpPr>
                <p:cNvPr id="95" name="Freeform 36">
                  <a:extLst>
                    <a:ext uri="{FF2B5EF4-FFF2-40B4-BE49-F238E27FC236}">
                      <a16:creationId xmlns:a16="http://schemas.microsoft.com/office/drawing/2014/main" id="{15F1BE17-02D3-FAB0-7F2B-C5B000660CCB}"/>
                    </a:ext>
                  </a:extLst>
                </p:cNvPr>
                <p:cNvSpPr/>
                <p:nvPr/>
              </p:nvSpPr>
              <p:spPr>
                <a:xfrm>
                  <a:off x="2717390" y="6623162"/>
                  <a:ext cx="949543" cy="949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301673" y="0"/>
                      </a:moveTo>
                      <a:lnTo>
                        <a:pt x="511127" y="0"/>
                      </a:lnTo>
                      <a:cubicBezTo>
                        <a:pt x="591136" y="0"/>
                        <a:pt x="667868" y="31783"/>
                        <a:pt x="724442" y="88358"/>
                      </a:cubicBezTo>
                      <a:cubicBezTo>
                        <a:pt x="781017" y="144932"/>
                        <a:pt x="812800" y="221664"/>
                        <a:pt x="812800" y="301673"/>
                      </a:cubicBezTo>
                      <a:lnTo>
                        <a:pt x="812800" y="511127"/>
                      </a:lnTo>
                      <a:cubicBezTo>
                        <a:pt x="812800" y="591136"/>
                        <a:pt x="781017" y="667868"/>
                        <a:pt x="724442" y="724442"/>
                      </a:cubicBezTo>
                      <a:cubicBezTo>
                        <a:pt x="667868" y="781017"/>
                        <a:pt x="591136" y="812800"/>
                        <a:pt x="511127" y="812800"/>
                      </a:cubicBezTo>
                      <a:lnTo>
                        <a:pt x="301673" y="812800"/>
                      </a:lnTo>
                      <a:cubicBezTo>
                        <a:pt x="221664" y="812800"/>
                        <a:pt x="144932" y="781017"/>
                        <a:pt x="88358" y="724442"/>
                      </a:cubicBezTo>
                      <a:cubicBezTo>
                        <a:pt x="31783" y="667868"/>
                        <a:pt x="0" y="591136"/>
                        <a:pt x="0" y="511127"/>
                      </a:cubicBezTo>
                      <a:lnTo>
                        <a:pt x="0" y="301673"/>
                      </a:lnTo>
                      <a:cubicBezTo>
                        <a:pt x="0" y="221664"/>
                        <a:pt x="31783" y="144932"/>
                        <a:pt x="88358" y="88358"/>
                      </a:cubicBezTo>
                      <a:cubicBezTo>
                        <a:pt x="144932" y="31783"/>
                        <a:pt x="221664" y="0"/>
                        <a:pt x="301673" y="0"/>
                      </a:cubicBezTo>
                      <a:close/>
                    </a:path>
                  </a:pathLst>
                </a:custGeom>
                <a:solidFill>
                  <a:srgbClr val="BAA485"/>
                </a:solidFill>
                <a:ln w="28575" cap="rnd">
                  <a:solidFill>
                    <a:srgbClr val="000000"/>
                  </a:solidFill>
                  <a:rou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6" name="Freeform 39">
                  <a:extLst>
                    <a:ext uri="{FF2B5EF4-FFF2-40B4-BE49-F238E27FC236}">
                      <a16:creationId xmlns:a16="http://schemas.microsoft.com/office/drawing/2014/main" id="{41C766A2-7B53-AF4B-CCC7-CC3C39C6F54F}"/>
                    </a:ext>
                  </a:extLst>
                </p:cNvPr>
                <p:cNvSpPr/>
                <p:nvPr/>
              </p:nvSpPr>
              <p:spPr>
                <a:xfrm>
                  <a:off x="3776144" y="6623162"/>
                  <a:ext cx="949543" cy="949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301673" y="0"/>
                      </a:moveTo>
                      <a:lnTo>
                        <a:pt x="511127" y="0"/>
                      </a:lnTo>
                      <a:cubicBezTo>
                        <a:pt x="591136" y="0"/>
                        <a:pt x="667868" y="31783"/>
                        <a:pt x="724442" y="88358"/>
                      </a:cubicBezTo>
                      <a:cubicBezTo>
                        <a:pt x="781017" y="144932"/>
                        <a:pt x="812800" y="221664"/>
                        <a:pt x="812800" y="301673"/>
                      </a:cubicBezTo>
                      <a:lnTo>
                        <a:pt x="812800" y="511127"/>
                      </a:lnTo>
                      <a:cubicBezTo>
                        <a:pt x="812800" y="591136"/>
                        <a:pt x="781017" y="667868"/>
                        <a:pt x="724442" y="724442"/>
                      </a:cubicBezTo>
                      <a:cubicBezTo>
                        <a:pt x="667868" y="781017"/>
                        <a:pt x="591136" y="812800"/>
                        <a:pt x="511127" y="812800"/>
                      </a:cubicBezTo>
                      <a:lnTo>
                        <a:pt x="301673" y="812800"/>
                      </a:lnTo>
                      <a:cubicBezTo>
                        <a:pt x="221664" y="812800"/>
                        <a:pt x="144932" y="781017"/>
                        <a:pt x="88358" y="724442"/>
                      </a:cubicBezTo>
                      <a:cubicBezTo>
                        <a:pt x="31783" y="667868"/>
                        <a:pt x="0" y="591136"/>
                        <a:pt x="0" y="511127"/>
                      </a:cubicBezTo>
                      <a:lnTo>
                        <a:pt x="0" y="301673"/>
                      </a:lnTo>
                      <a:cubicBezTo>
                        <a:pt x="0" y="221664"/>
                        <a:pt x="31783" y="144932"/>
                        <a:pt x="88358" y="88358"/>
                      </a:cubicBezTo>
                      <a:cubicBezTo>
                        <a:pt x="144932" y="31783"/>
                        <a:pt x="221664" y="0"/>
                        <a:pt x="301673" y="0"/>
                      </a:cubicBezTo>
                      <a:close/>
                    </a:path>
                  </a:pathLst>
                </a:custGeom>
                <a:solidFill>
                  <a:srgbClr val="768282"/>
                </a:solidFill>
                <a:ln w="28575" cap="rnd">
                  <a:solidFill>
                    <a:srgbClr val="000000"/>
                  </a:solidFill>
                  <a:rou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7" name="Freeform 42">
                  <a:extLst>
                    <a:ext uri="{FF2B5EF4-FFF2-40B4-BE49-F238E27FC236}">
                      <a16:creationId xmlns:a16="http://schemas.microsoft.com/office/drawing/2014/main" id="{69D221FD-BA51-E16E-D471-C338DCFE4BA6}"/>
                    </a:ext>
                  </a:extLst>
                </p:cNvPr>
                <p:cNvSpPr/>
                <p:nvPr/>
              </p:nvSpPr>
              <p:spPr>
                <a:xfrm>
                  <a:off x="4834898" y="6623162"/>
                  <a:ext cx="949543" cy="949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301673" y="0"/>
                      </a:moveTo>
                      <a:lnTo>
                        <a:pt x="511127" y="0"/>
                      </a:lnTo>
                      <a:cubicBezTo>
                        <a:pt x="591136" y="0"/>
                        <a:pt x="667868" y="31783"/>
                        <a:pt x="724442" y="88358"/>
                      </a:cubicBezTo>
                      <a:cubicBezTo>
                        <a:pt x="781017" y="144932"/>
                        <a:pt x="812800" y="221664"/>
                        <a:pt x="812800" y="301673"/>
                      </a:cubicBezTo>
                      <a:lnTo>
                        <a:pt x="812800" y="511127"/>
                      </a:lnTo>
                      <a:cubicBezTo>
                        <a:pt x="812800" y="591136"/>
                        <a:pt x="781017" y="667868"/>
                        <a:pt x="724442" y="724442"/>
                      </a:cubicBezTo>
                      <a:cubicBezTo>
                        <a:pt x="667868" y="781017"/>
                        <a:pt x="591136" y="812800"/>
                        <a:pt x="511127" y="812800"/>
                      </a:cubicBezTo>
                      <a:lnTo>
                        <a:pt x="301673" y="812800"/>
                      </a:lnTo>
                      <a:cubicBezTo>
                        <a:pt x="221664" y="812800"/>
                        <a:pt x="144932" y="781017"/>
                        <a:pt x="88358" y="724442"/>
                      </a:cubicBezTo>
                      <a:cubicBezTo>
                        <a:pt x="31783" y="667868"/>
                        <a:pt x="0" y="591136"/>
                        <a:pt x="0" y="511127"/>
                      </a:cubicBezTo>
                      <a:lnTo>
                        <a:pt x="0" y="301673"/>
                      </a:lnTo>
                      <a:cubicBezTo>
                        <a:pt x="0" y="221664"/>
                        <a:pt x="31783" y="144932"/>
                        <a:pt x="88358" y="88358"/>
                      </a:cubicBezTo>
                      <a:cubicBezTo>
                        <a:pt x="144932" y="31783"/>
                        <a:pt x="221664" y="0"/>
                        <a:pt x="301673" y="0"/>
                      </a:cubicBezTo>
                      <a:close/>
                    </a:path>
                  </a:pathLst>
                </a:custGeom>
                <a:solidFill>
                  <a:srgbClr val="4A5965"/>
                </a:solidFill>
                <a:ln w="28575" cap="rnd">
                  <a:solidFill>
                    <a:srgbClr val="000000"/>
                  </a:solidFill>
                  <a:rou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8" name="Freeform 45">
                  <a:extLst>
                    <a:ext uri="{FF2B5EF4-FFF2-40B4-BE49-F238E27FC236}">
                      <a16:creationId xmlns:a16="http://schemas.microsoft.com/office/drawing/2014/main" id="{8C3A3465-81E7-2B4C-7ED4-8B6B65FAFDF4}"/>
                    </a:ext>
                  </a:extLst>
                </p:cNvPr>
                <p:cNvSpPr/>
                <p:nvPr/>
              </p:nvSpPr>
              <p:spPr>
                <a:xfrm>
                  <a:off x="5893652" y="6623162"/>
                  <a:ext cx="949543" cy="9495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301673" y="0"/>
                      </a:moveTo>
                      <a:lnTo>
                        <a:pt x="511127" y="0"/>
                      </a:lnTo>
                      <a:cubicBezTo>
                        <a:pt x="591136" y="0"/>
                        <a:pt x="667868" y="31783"/>
                        <a:pt x="724442" y="88358"/>
                      </a:cubicBezTo>
                      <a:cubicBezTo>
                        <a:pt x="781017" y="144932"/>
                        <a:pt x="812800" y="221664"/>
                        <a:pt x="812800" y="301673"/>
                      </a:cubicBezTo>
                      <a:lnTo>
                        <a:pt x="812800" y="511127"/>
                      </a:lnTo>
                      <a:cubicBezTo>
                        <a:pt x="812800" y="591136"/>
                        <a:pt x="781017" y="667868"/>
                        <a:pt x="724442" y="724442"/>
                      </a:cubicBezTo>
                      <a:cubicBezTo>
                        <a:pt x="667868" y="781017"/>
                        <a:pt x="591136" y="812800"/>
                        <a:pt x="511127" y="812800"/>
                      </a:cubicBezTo>
                      <a:lnTo>
                        <a:pt x="301673" y="812800"/>
                      </a:lnTo>
                      <a:cubicBezTo>
                        <a:pt x="221664" y="812800"/>
                        <a:pt x="144932" y="781017"/>
                        <a:pt x="88358" y="724442"/>
                      </a:cubicBezTo>
                      <a:cubicBezTo>
                        <a:pt x="31783" y="667868"/>
                        <a:pt x="0" y="591136"/>
                        <a:pt x="0" y="511127"/>
                      </a:cubicBezTo>
                      <a:lnTo>
                        <a:pt x="0" y="301673"/>
                      </a:lnTo>
                      <a:cubicBezTo>
                        <a:pt x="0" y="221664"/>
                        <a:pt x="31783" y="144932"/>
                        <a:pt x="88358" y="88358"/>
                      </a:cubicBezTo>
                      <a:cubicBezTo>
                        <a:pt x="144932" y="31783"/>
                        <a:pt x="221664" y="0"/>
                        <a:pt x="301673" y="0"/>
                      </a:cubicBezTo>
                      <a:close/>
                    </a:path>
                  </a:pathLst>
                </a:custGeom>
                <a:solidFill>
                  <a:srgbClr val="22272B"/>
                </a:solidFill>
                <a:ln w="28575" cap="rnd">
                  <a:solidFill>
                    <a:srgbClr val="000000"/>
                  </a:solidFill>
                  <a:rou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B5620E51-67EF-905C-1C9B-107CDD5DC900}"/>
                </a:ext>
              </a:extLst>
            </p:cNvPr>
            <p:cNvGrpSpPr/>
            <p:nvPr/>
          </p:nvGrpSpPr>
          <p:grpSpPr>
            <a:xfrm>
              <a:off x="704702" y="4672921"/>
              <a:ext cx="6103749" cy="1329531"/>
              <a:chOff x="704702" y="4672921"/>
              <a:chExt cx="6103749" cy="1329531"/>
            </a:xfrm>
          </p:grpSpPr>
          <p:sp>
            <p:nvSpPr>
              <p:cNvPr id="85" name="TextBox 65">
                <a:extLst>
                  <a:ext uri="{FF2B5EF4-FFF2-40B4-BE49-F238E27FC236}">
                    <a16:creationId xmlns:a16="http://schemas.microsoft.com/office/drawing/2014/main" id="{93BC4519-1B12-5DAA-8F76-596152109280}"/>
                  </a:ext>
                </a:extLst>
              </p:cNvPr>
              <p:cNvSpPr txBox="1"/>
              <p:nvPr/>
            </p:nvSpPr>
            <p:spPr>
              <a:xfrm>
                <a:off x="704702" y="5067047"/>
                <a:ext cx="1553349" cy="59676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200"/>
                  </a:lnSpc>
                </a:pPr>
                <a:r>
                  <a:rPr lang="en-US" sz="2600" b="1" spc="-83" dirty="0">
                    <a:solidFill>
                      <a:srgbClr val="000000"/>
                    </a:solidFill>
                    <a:latin typeface="League Spartan"/>
                  </a:rPr>
                  <a:t>ABOUT</a:t>
                </a:r>
              </a:p>
              <a:p>
                <a:pPr algn="ctr">
                  <a:lnSpc>
                    <a:spcPts val="2200"/>
                  </a:lnSpc>
                </a:pPr>
                <a:r>
                  <a:rPr lang="en-US" sz="2600" b="1" spc="-83" dirty="0">
                    <a:solidFill>
                      <a:srgbClr val="000000"/>
                    </a:solidFill>
                    <a:latin typeface="League Spartan"/>
                  </a:rPr>
                  <a:t>ME</a:t>
                </a:r>
              </a:p>
            </p:txBody>
          </p:sp>
          <p:sp>
            <p:nvSpPr>
              <p:cNvPr id="89" name="TextBox 54">
                <a:extLst>
                  <a:ext uri="{FF2B5EF4-FFF2-40B4-BE49-F238E27FC236}">
                    <a16:creationId xmlns:a16="http://schemas.microsoft.com/office/drawing/2014/main" id="{4E53F4BB-DD71-412E-882A-FDB0F8E332CF}"/>
                  </a:ext>
                </a:extLst>
              </p:cNvPr>
              <p:cNvSpPr txBox="1"/>
              <p:nvPr/>
            </p:nvSpPr>
            <p:spPr>
              <a:xfrm>
                <a:off x="2754622" y="4672921"/>
                <a:ext cx="4053829" cy="132953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099"/>
                  </a:lnSpc>
                </a:pPr>
                <a:r>
                  <a:rPr lang="en-US" sz="1499" dirty="0">
                    <a:solidFill>
                      <a:srgbClr val="000000"/>
                    </a:solidFill>
                    <a:latin typeface="Darker Grotesque"/>
                  </a:rPr>
                  <a:t>Hello! I'm Nathanial Mitchell, a passionate student committed to expanding my knowledge and personal growth. I enjoy exploring various subjects, connecting </a:t>
                </a:r>
              </a:p>
              <a:p>
                <a:pPr>
                  <a:lnSpc>
                    <a:spcPts val="2099"/>
                  </a:lnSpc>
                </a:pPr>
                <a:r>
                  <a:rPr lang="en-US" sz="1499" dirty="0">
                    <a:solidFill>
                      <a:srgbClr val="000000"/>
                    </a:solidFill>
                    <a:latin typeface="Darker Grotesque"/>
                  </a:rPr>
                  <a:t>with fellow students and fostering meaningful connections to fuel my curiosity during my educational journey.</a:t>
                </a:r>
              </a:p>
            </p:txBody>
          </p:sp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3A08C591-9614-9D9D-288D-DEA68EDD4112}"/>
                </a:ext>
              </a:extLst>
            </p:cNvPr>
            <p:cNvGrpSpPr/>
            <p:nvPr/>
          </p:nvGrpSpPr>
          <p:grpSpPr>
            <a:xfrm>
              <a:off x="485234" y="1278581"/>
              <a:ext cx="6586032" cy="2986386"/>
              <a:chOff x="485234" y="1278581"/>
              <a:chExt cx="6586032" cy="2986386"/>
            </a:xfrm>
          </p:grpSpPr>
          <p:sp>
            <p:nvSpPr>
              <p:cNvPr id="74" name="Rectangle: Rounded Corners 73">
                <a:extLst>
                  <a:ext uri="{FF2B5EF4-FFF2-40B4-BE49-F238E27FC236}">
                    <a16:creationId xmlns:a16="http://schemas.microsoft.com/office/drawing/2014/main" id="{0C8B80D8-2C76-1591-06C8-845A6864A013}"/>
                  </a:ext>
                </a:extLst>
              </p:cNvPr>
              <p:cNvSpPr/>
              <p:nvPr/>
            </p:nvSpPr>
            <p:spPr>
              <a:xfrm>
                <a:off x="485234" y="1278581"/>
                <a:ext cx="6586032" cy="2986386"/>
              </a:xfrm>
              <a:prstGeom prst="roundRect">
                <a:avLst>
                  <a:gd name="adj" fmla="val 7414"/>
                </a:avLst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6CA8B03-E1C0-7FE6-4CEE-D0646166E477}"/>
                  </a:ext>
                </a:extLst>
              </p:cNvPr>
              <p:cNvGrpSpPr/>
              <p:nvPr/>
            </p:nvGrpSpPr>
            <p:grpSpPr>
              <a:xfrm>
                <a:off x="858012" y="1583266"/>
                <a:ext cx="5680857" cy="2377016"/>
                <a:chOff x="858012" y="1557809"/>
                <a:chExt cx="5680857" cy="2377016"/>
              </a:xfrm>
            </p:grpSpPr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1830302D-7507-1684-C87E-C70D72421673}"/>
                    </a:ext>
                  </a:extLst>
                </p:cNvPr>
                <p:cNvGrpSpPr/>
                <p:nvPr/>
              </p:nvGrpSpPr>
              <p:grpSpPr>
                <a:xfrm>
                  <a:off x="858012" y="1571521"/>
                  <a:ext cx="3267591" cy="2349592"/>
                  <a:chOff x="858012" y="1540144"/>
                  <a:chExt cx="3267591" cy="2349592"/>
                </a:xfrm>
              </p:grpSpPr>
              <p:sp>
                <p:nvSpPr>
                  <p:cNvPr id="78" name="TextBox 55">
                    <a:extLst>
                      <a:ext uri="{FF2B5EF4-FFF2-40B4-BE49-F238E27FC236}">
                        <a16:creationId xmlns:a16="http://schemas.microsoft.com/office/drawing/2014/main" id="{2E4451D3-785E-1816-E32D-4F624B5CC149}"/>
                      </a:ext>
                    </a:extLst>
                  </p:cNvPr>
                  <p:cNvSpPr txBox="1"/>
                  <p:nvPr/>
                </p:nvSpPr>
                <p:spPr>
                  <a:xfrm>
                    <a:off x="858012" y="1540144"/>
                    <a:ext cx="3267591" cy="147752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5618"/>
                      </a:lnSpc>
                      <a:spcBef>
                        <a:spcPct val="0"/>
                      </a:spcBef>
                    </a:pPr>
                    <a:r>
                      <a:rPr lang="en-US" sz="5800" b="1" u="none" strike="noStrike" spc="-187" dirty="0">
                        <a:solidFill>
                          <a:srgbClr val="000000"/>
                        </a:solidFill>
                        <a:latin typeface="League Spartan"/>
                      </a:rPr>
                      <a:t>Nathanial Mitchell</a:t>
                    </a:r>
                  </a:p>
                </p:txBody>
              </p:sp>
              <p:sp>
                <p:nvSpPr>
                  <p:cNvPr id="79" name="TextBox 57">
                    <a:extLst>
                      <a:ext uri="{FF2B5EF4-FFF2-40B4-BE49-F238E27FC236}">
                        <a16:creationId xmlns:a16="http://schemas.microsoft.com/office/drawing/2014/main" id="{819B323F-4BA4-DAAE-DDFB-2BECB6061EF9}"/>
                      </a:ext>
                    </a:extLst>
                  </p:cNvPr>
                  <p:cNvSpPr txBox="1"/>
                  <p:nvPr/>
                </p:nvSpPr>
                <p:spPr>
                  <a:xfrm>
                    <a:off x="858012" y="3043123"/>
                    <a:ext cx="2049059" cy="252313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l">
                      <a:lnSpc>
                        <a:spcPts val="2099"/>
                      </a:lnSpc>
                    </a:pPr>
                    <a:r>
                      <a:rPr lang="en-US" sz="1499" b="1" u="none" strike="noStrike" dirty="0">
                        <a:solidFill>
                          <a:srgbClr val="000000"/>
                        </a:solidFill>
                        <a:latin typeface="Darker Grotesque" pitchFamily="2" charset="0"/>
                      </a:rPr>
                      <a:t>Born:</a:t>
                    </a:r>
                    <a:r>
                      <a:rPr lang="en-US" sz="1499" b="1" u="none" strike="noStrike" dirty="0">
                        <a:solidFill>
                          <a:srgbClr val="000000"/>
                        </a:solidFill>
                        <a:latin typeface="Darker Grotesque"/>
                      </a:rPr>
                      <a:t> </a:t>
                    </a:r>
                    <a:r>
                      <a:rPr lang="en-US" sz="1499" u="none" strike="noStrike" dirty="0">
                        <a:solidFill>
                          <a:srgbClr val="000000"/>
                        </a:solidFill>
                        <a:latin typeface="Darker Grotesque"/>
                      </a:rPr>
                      <a:t>09.09.2007</a:t>
                    </a:r>
                  </a:p>
                </p:txBody>
              </p:sp>
              <p:sp>
                <p:nvSpPr>
                  <p:cNvPr id="80" name="TextBox 58">
                    <a:extLst>
                      <a:ext uri="{FF2B5EF4-FFF2-40B4-BE49-F238E27FC236}">
                        <a16:creationId xmlns:a16="http://schemas.microsoft.com/office/drawing/2014/main" id="{4A8F91D0-EC30-BA67-626F-868B9FD1A396}"/>
                      </a:ext>
                    </a:extLst>
                  </p:cNvPr>
                  <p:cNvSpPr txBox="1"/>
                  <p:nvPr/>
                </p:nvSpPr>
                <p:spPr>
                  <a:xfrm>
                    <a:off x="858012" y="3340273"/>
                    <a:ext cx="2049059" cy="252313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l">
                      <a:lnSpc>
                        <a:spcPts val="2099"/>
                      </a:lnSpc>
                    </a:pPr>
                    <a:r>
                      <a:rPr lang="en-US" sz="1499" b="1" u="none" strike="noStrike" dirty="0">
                        <a:solidFill>
                          <a:srgbClr val="000000"/>
                        </a:solidFill>
                        <a:latin typeface="Darker Grotesque" pitchFamily="2" charset="0"/>
                      </a:rPr>
                      <a:t>Height: </a:t>
                    </a:r>
                    <a:r>
                      <a:rPr lang="en-US" sz="1499" u="none" strike="noStrike" dirty="0">
                        <a:solidFill>
                          <a:srgbClr val="000000"/>
                        </a:solidFill>
                        <a:latin typeface="Darker Grotesque"/>
                      </a:rPr>
                      <a:t>176 cm</a:t>
                    </a:r>
                  </a:p>
                </p:txBody>
              </p:sp>
              <p:sp>
                <p:nvSpPr>
                  <p:cNvPr id="81" name="TextBox 59">
                    <a:extLst>
                      <a:ext uri="{FF2B5EF4-FFF2-40B4-BE49-F238E27FC236}">
                        <a16:creationId xmlns:a16="http://schemas.microsoft.com/office/drawing/2014/main" id="{A17CD81C-0E14-F9C7-8E79-FFE9CE03EE98}"/>
                      </a:ext>
                    </a:extLst>
                  </p:cNvPr>
                  <p:cNvSpPr txBox="1"/>
                  <p:nvPr/>
                </p:nvSpPr>
                <p:spPr>
                  <a:xfrm>
                    <a:off x="858012" y="3637423"/>
                    <a:ext cx="2369446" cy="252313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l">
                      <a:lnSpc>
                        <a:spcPts val="2099"/>
                      </a:lnSpc>
                    </a:pPr>
                    <a:r>
                      <a:rPr lang="en-US" sz="1499" b="1" u="none" strike="noStrike" dirty="0">
                        <a:solidFill>
                          <a:srgbClr val="000000"/>
                        </a:solidFill>
                        <a:latin typeface="Darker Grotesque" pitchFamily="2" charset="0"/>
                      </a:rPr>
                      <a:t>Zodiac Sign:</a:t>
                    </a:r>
                    <a:r>
                      <a:rPr lang="en-US" sz="1499" b="1" u="none" strike="noStrike" dirty="0">
                        <a:solidFill>
                          <a:srgbClr val="000000"/>
                        </a:solidFill>
                        <a:latin typeface="Darker Grotesque"/>
                      </a:rPr>
                      <a:t> </a:t>
                    </a:r>
                    <a:r>
                      <a:rPr lang="en-US" sz="1499" u="none" strike="noStrike" dirty="0">
                        <a:solidFill>
                          <a:srgbClr val="000000"/>
                        </a:solidFill>
                        <a:latin typeface="Darker Grotesque"/>
                      </a:rPr>
                      <a:t>Virgos</a:t>
                    </a:r>
                  </a:p>
                </p:txBody>
              </p:sp>
            </p:grpSp>
            <p:sp>
              <p:nvSpPr>
                <p:cNvPr id="83" name="Freeform 49">
                  <a:extLst>
                    <a:ext uri="{FF2B5EF4-FFF2-40B4-BE49-F238E27FC236}">
                      <a16:creationId xmlns:a16="http://schemas.microsoft.com/office/drawing/2014/main" id="{67E12302-D4F7-5215-2968-18ED0AFDF03F}"/>
                    </a:ext>
                  </a:extLst>
                </p:cNvPr>
                <p:cNvSpPr/>
                <p:nvPr/>
              </p:nvSpPr>
              <p:spPr>
                <a:xfrm>
                  <a:off x="4239108" y="1557809"/>
                  <a:ext cx="2299761" cy="23770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00140" h="6408420">
                      <a:moveTo>
                        <a:pt x="6200140" y="5351780"/>
                      </a:moveTo>
                      <a:cubicBezTo>
                        <a:pt x="6200140" y="5935980"/>
                        <a:pt x="5726430" y="6408420"/>
                        <a:pt x="5143500" y="6408420"/>
                      </a:cubicBezTo>
                      <a:lnTo>
                        <a:pt x="1056640" y="6408420"/>
                      </a:lnTo>
                      <a:cubicBezTo>
                        <a:pt x="472440" y="6408420"/>
                        <a:pt x="0" y="5934710"/>
                        <a:pt x="0" y="5351780"/>
                      </a:cubicBezTo>
                      <a:lnTo>
                        <a:pt x="0" y="1056640"/>
                      </a:lnTo>
                      <a:cubicBezTo>
                        <a:pt x="0" y="472440"/>
                        <a:pt x="473710" y="0"/>
                        <a:pt x="1056640" y="0"/>
                      </a:cubicBezTo>
                      <a:lnTo>
                        <a:pt x="5143500" y="0"/>
                      </a:lnTo>
                      <a:cubicBezTo>
                        <a:pt x="5727700" y="0"/>
                        <a:pt x="6200140" y="473710"/>
                        <a:pt x="6200140" y="1056640"/>
                      </a:cubicBezTo>
                      <a:lnTo>
                        <a:pt x="6200140" y="5351780"/>
                      </a:lnTo>
                      <a:close/>
                    </a:path>
                  </a:pathLst>
                </a:custGeom>
                <a:blipFill>
                  <a:blip r:embed="rId5"/>
                  <a:stretch>
                    <a:fillRect l="-111016" t="-3846" r="-22880" b="-51932"/>
                  </a:stretch>
                </a:blipFill>
                <a:ln w="28575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2039944A-1043-C511-B270-115421D28A17}"/>
                </a:ext>
              </a:extLst>
            </p:cNvPr>
            <p:cNvGrpSpPr/>
            <p:nvPr/>
          </p:nvGrpSpPr>
          <p:grpSpPr>
            <a:xfrm>
              <a:off x="485234" y="437582"/>
              <a:ext cx="6586032" cy="710179"/>
              <a:chOff x="485234" y="437582"/>
              <a:chExt cx="6586032" cy="710179"/>
            </a:xfrm>
          </p:grpSpPr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1DC96235-84B8-BA77-57C8-C34481460D85}"/>
                  </a:ext>
                </a:extLst>
              </p:cNvPr>
              <p:cNvGrpSpPr/>
              <p:nvPr/>
            </p:nvGrpSpPr>
            <p:grpSpPr>
              <a:xfrm>
                <a:off x="485234" y="437582"/>
                <a:ext cx="699585" cy="710179"/>
                <a:chOff x="485234" y="437582"/>
                <a:chExt cx="699585" cy="710179"/>
              </a:xfrm>
            </p:grpSpPr>
            <p:sp>
              <p:nvSpPr>
                <p:cNvPr id="70" name="Rectangle: Rounded Corners 69">
                  <a:extLst>
                    <a:ext uri="{FF2B5EF4-FFF2-40B4-BE49-F238E27FC236}">
                      <a16:creationId xmlns:a16="http://schemas.microsoft.com/office/drawing/2014/main" id="{392E21DB-95E1-37F2-9A70-683233A017D5}"/>
                    </a:ext>
                  </a:extLst>
                </p:cNvPr>
                <p:cNvSpPr/>
                <p:nvPr/>
              </p:nvSpPr>
              <p:spPr>
                <a:xfrm>
                  <a:off x="485234" y="437582"/>
                  <a:ext cx="699585" cy="710179"/>
                </a:xfrm>
                <a:prstGeom prst="roundRect">
                  <a:avLst>
                    <a:gd name="adj" fmla="val 32292"/>
                  </a:avLst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4" name="Freeform 27">
                  <a:extLst>
                    <a:ext uri="{FF2B5EF4-FFF2-40B4-BE49-F238E27FC236}">
                      <a16:creationId xmlns:a16="http://schemas.microsoft.com/office/drawing/2014/main" id="{257BD472-D8E7-0E7A-D855-2455B1F373EF}"/>
                    </a:ext>
                  </a:extLst>
                </p:cNvPr>
                <p:cNvSpPr/>
                <p:nvPr/>
              </p:nvSpPr>
              <p:spPr>
                <a:xfrm>
                  <a:off x="573252" y="530897"/>
                  <a:ext cx="523549" cy="5235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lnTo>
                        <a:pt x="535715" y="277085"/>
                      </a:lnTo>
                      <a:lnTo>
                        <a:pt x="812800" y="406400"/>
                      </a:lnTo>
                      <a:lnTo>
                        <a:pt x="535715" y="535715"/>
                      </a:lnTo>
                      <a:lnTo>
                        <a:pt x="406400" y="812800"/>
                      </a:lnTo>
                      <a:lnTo>
                        <a:pt x="277085" y="535715"/>
                      </a:lnTo>
                      <a:lnTo>
                        <a:pt x="0" y="406400"/>
                      </a:lnTo>
                      <a:lnTo>
                        <a:pt x="277085" y="277085"/>
                      </a:lnTo>
                      <a:lnTo>
                        <a:pt x="406400" y="0"/>
                      </a:lnTo>
                      <a:close/>
                    </a:path>
                  </a:pathLst>
                </a:custGeom>
                <a:solidFill>
                  <a:srgbClr val="FFD800"/>
                </a:solidFill>
                <a:ln w="28575" cap="sq">
                  <a:solidFill>
                    <a:srgbClr val="000000"/>
                  </a:solidFill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2EA10B79-A4C7-8DC3-8E65-B6A41B451375}"/>
                  </a:ext>
                </a:extLst>
              </p:cNvPr>
              <p:cNvGrpSpPr/>
              <p:nvPr/>
            </p:nvGrpSpPr>
            <p:grpSpPr>
              <a:xfrm>
                <a:off x="6371681" y="437582"/>
                <a:ext cx="699585" cy="710179"/>
                <a:chOff x="6371681" y="437582"/>
                <a:chExt cx="699585" cy="710179"/>
              </a:xfrm>
            </p:grpSpPr>
            <p:sp>
              <p:nvSpPr>
                <p:cNvPr id="72" name="Rectangle: Rounded Corners 71">
                  <a:extLst>
                    <a:ext uri="{FF2B5EF4-FFF2-40B4-BE49-F238E27FC236}">
                      <a16:creationId xmlns:a16="http://schemas.microsoft.com/office/drawing/2014/main" id="{3B5BCC3C-FC41-4BEB-F338-DDE470D5B1DD}"/>
                    </a:ext>
                  </a:extLst>
                </p:cNvPr>
                <p:cNvSpPr/>
                <p:nvPr/>
              </p:nvSpPr>
              <p:spPr>
                <a:xfrm>
                  <a:off x="6371681" y="437582"/>
                  <a:ext cx="699585" cy="710179"/>
                </a:xfrm>
                <a:prstGeom prst="roundRect">
                  <a:avLst>
                    <a:gd name="adj" fmla="val 32292"/>
                  </a:avLst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5" name="Freeform 33">
                  <a:extLst>
                    <a:ext uri="{FF2B5EF4-FFF2-40B4-BE49-F238E27FC236}">
                      <a16:creationId xmlns:a16="http://schemas.microsoft.com/office/drawing/2014/main" id="{EE4A7063-66C3-A17E-B8E2-5A980DEDC612}"/>
                    </a:ext>
                  </a:extLst>
                </p:cNvPr>
                <p:cNvSpPr/>
                <p:nvPr/>
              </p:nvSpPr>
              <p:spPr>
                <a:xfrm>
                  <a:off x="6459699" y="530897"/>
                  <a:ext cx="523549" cy="5235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lnTo>
                        <a:pt x="535715" y="277085"/>
                      </a:lnTo>
                      <a:lnTo>
                        <a:pt x="812800" y="406400"/>
                      </a:lnTo>
                      <a:lnTo>
                        <a:pt x="535715" y="535715"/>
                      </a:lnTo>
                      <a:lnTo>
                        <a:pt x="406400" y="812800"/>
                      </a:lnTo>
                      <a:lnTo>
                        <a:pt x="277085" y="535715"/>
                      </a:lnTo>
                      <a:lnTo>
                        <a:pt x="0" y="406400"/>
                      </a:lnTo>
                      <a:lnTo>
                        <a:pt x="277085" y="277085"/>
                      </a:lnTo>
                      <a:lnTo>
                        <a:pt x="406400" y="0"/>
                      </a:lnTo>
                      <a:close/>
                    </a:path>
                  </a:pathLst>
                </a:custGeom>
                <a:solidFill>
                  <a:srgbClr val="FFD800"/>
                </a:solidFill>
                <a:ln w="28575" cap="sq">
                  <a:solidFill>
                    <a:srgbClr val="000000"/>
                  </a:solidFill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FEE402D7-9E1A-F4B7-2809-58B3A5186059}"/>
                  </a:ext>
                </a:extLst>
              </p:cNvPr>
              <p:cNvGrpSpPr/>
              <p:nvPr/>
            </p:nvGrpSpPr>
            <p:grpSpPr>
              <a:xfrm>
                <a:off x="1263650" y="437582"/>
                <a:ext cx="5029200" cy="710179"/>
                <a:chOff x="1263650" y="437582"/>
                <a:chExt cx="5029200" cy="710179"/>
              </a:xfrm>
            </p:grpSpPr>
            <p:sp>
              <p:nvSpPr>
                <p:cNvPr id="71" name="Rectangle: Rounded Corners 70">
                  <a:extLst>
                    <a:ext uri="{FF2B5EF4-FFF2-40B4-BE49-F238E27FC236}">
                      <a16:creationId xmlns:a16="http://schemas.microsoft.com/office/drawing/2014/main" id="{6C191B89-09B8-AE12-BA38-6008866199D4}"/>
                    </a:ext>
                  </a:extLst>
                </p:cNvPr>
                <p:cNvSpPr/>
                <p:nvPr/>
              </p:nvSpPr>
              <p:spPr>
                <a:xfrm>
                  <a:off x="1263650" y="437582"/>
                  <a:ext cx="5029200" cy="710179"/>
                </a:xfrm>
                <a:prstGeom prst="roundRect">
                  <a:avLst>
                    <a:gd name="adj" fmla="val 32292"/>
                  </a:avLst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0" name="TextBox 60">
                  <a:extLst>
                    <a:ext uri="{FF2B5EF4-FFF2-40B4-BE49-F238E27FC236}">
                      <a16:creationId xmlns:a16="http://schemas.microsoft.com/office/drawing/2014/main" id="{C987B843-E015-18A8-1ABB-2D3614ADA27B}"/>
                    </a:ext>
                  </a:extLst>
                </p:cNvPr>
                <p:cNvSpPr txBox="1"/>
                <p:nvPr/>
              </p:nvSpPr>
              <p:spPr>
                <a:xfrm>
                  <a:off x="1588783" y="637340"/>
                  <a:ext cx="4378934" cy="31066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2376"/>
                    </a:lnSpc>
                    <a:spcBef>
                      <a:spcPct val="0"/>
                    </a:spcBef>
                  </a:pPr>
                  <a:r>
                    <a:rPr lang="en-US" sz="2400" b="1" dirty="0">
                      <a:solidFill>
                        <a:srgbClr val="34271C"/>
                      </a:solidFill>
                      <a:latin typeface="Darker Grotesque" pitchFamily="2" charset="0"/>
                    </a:rPr>
                    <a:t>ALL ABOUT ME STUDENT </a:t>
                  </a:r>
                </a:p>
              </p:txBody>
            </p:sp>
          </p:grpSp>
        </p:grpSp>
        <p:sp>
          <p:nvSpPr>
            <p:cNvPr id="84" name="TemplateLAB">
              <a:extLst>
                <a:ext uri="{FF2B5EF4-FFF2-40B4-BE49-F238E27FC236}">
                  <a16:creationId xmlns:a16="http://schemas.microsoft.com/office/drawing/2014/main" id="{883FF4C8-43CA-8397-5EFC-0B5940486F9E}"/>
                </a:ext>
              </a:extLst>
            </p:cNvPr>
            <p:cNvSpPr/>
            <p:nvPr/>
          </p:nvSpPr>
          <p:spPr>
            <a:xfrm rot="5400000">
              <a:off x="6281494" y="2678327"/>
              <a:ext cx="994612" cy="164111"/>
            </a:xfrm>
            <a:custGeom>
              <a:avLst/>
              <a:gdLst/>
              <a:ahLst/>
              <a:cxnLst/>
              <a:rect l="l" t="t" r="r" b="b"/>
              <a:pathLst>
                <a:path w="994612" h="164111">
                  <a:moveTo>
                    <a:pt x="0" y="0"/>
                  </a:moveTo>
                  <a:lnTo>
                    <a:pt x="994612" y="0"/>
                  </a:lnTo>
                  <a:lnTo>
                    <a:pt x="994612" y="164111"/>
                  </a:lnTo>
                  <a:lnTo>
                    <a:pt x="0" y="16411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62188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2</TotalTime>
  <Words>106</Words>
  <Application>Microsoft Office PowerPoint</Application>
  <PresentationFormat>Custom</PresentationFormat>
  <Paragraphs>15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League Spartan</vt:lpstr>
      <vt:lpstr>Darker Grotesque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l about me  - 1,2,3,4,6,7,8,9</dc:title>
  <dc:creator>Hoang Anh</dc:creator>
  <cp:lastModifiedBy>Hoang Anh</cp:lastModifiedBy>
  <cp:revision>10</cp:revision>
  <dcterms:created xsi:type="dcterms:W3CDTF">2006-08-16T00:00:00Z</dcterms:created>
  <dcterms:modified xsi:type="dcterms:W3CDTF">2023-09-14T10:02:34Z</dcterms:modified>
  <dc:identifier>DAFuDzpaPhY</dc:identifier>
</cp:coreProperties>
</file>